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4"/>
  </p:notesMasterIdLst>
  <p:handoutMasterIdLst>
    <p:handoutMasterId r:id="rId15"/>
  </p:handoutMasterIdLst>
  <p:sldIdLst>
    <p:sldId id="1277" r:id="rId3"/>
    <p:sldId id="1293" r:id="rId4"/>
    <p:sldId id="1294" r:id="rId5"/>
    <p:sldId id="1296" r:id="rId6"/>
    <p:sldId id="1383" r:id="rId7"/>
    <p:sldId id="1384" r:id="rId8"/>
    <p:sldId id="1373" r:id="rId9"/>
    <p:sldId id="1343" r:id="rId10"/>
    <p:sldId id="1344" r:id="rId11"/>
    <p:sldId id="1345" r:id="rId12"/>
    <p:sldId id="1346" r:id="rId13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83"/>
            <p14:sldId id="1384"/>
            <p14:sldId id="1373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113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1182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19.01.2022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9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53732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19. ledna 2022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8869636"/>
              </p:ext>
            </p:extLst>
          </p:nvPr>
        </p:nvGraphicFramePr>
        <p:xfrm>
          <a:off x="376606" y="813855"/>
          <a:ext cx="11519385" cy="4817815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525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10218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upný návrat k elektivní operativě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18639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oproti podzimu zklidnění situace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plánované operativy minimální, někde maximálně do 20%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ost personálu v trendu , očekává se zvýše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uvistos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s nákazou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icronem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OČR, nemocnost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257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á lůžková kapacita zlepšena – překlady mezi nemocnicemi (mimo ECMO) jen sporadicky při potřebě náročné IP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soký poče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kovidů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a lůžkách IP přetrvává ECMO kapacita dostatečná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smtClean="0"/>
              <a:t>Hodnocení situace v krajích od KKIP</a:t>
            </a:r>
            <a:endParaRPr lang="cs-CZ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2092665"/>
              </p:ext>
            </p:extLst>
          </p:nvPr>
        </p:nvGraphicFramePr>
        <p:xfrm>
          <a:off x="434413" y="847512"/>
          <a:ext cx="11435203" cy="5357055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1261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772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malý pokles celkového počtu C19 hospitalizací, trvá vyšší zatížení intenzivní péče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vě C19 JIP zatěžují pacienti kde je COVID-19 vedlejší diagnóza náhodně zjištěná při léčbě jiné patologie.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2233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chybí lůžka, personál dostatečn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C+ hospitalizovaných na standardu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 zatížené také méně, ale je vysoký poče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a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, kteří drž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k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plněné ve všech nemocnicích v ZLK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2221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mezi 20-50%; přetrvává problém v intenzivní péči s velkým počtem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; problém v oblast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c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interních lůžek (značná část byla transformována na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ové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  <a:tr h="98891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53488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19.1.2022 00:36</a:t>
            </a:r>
            <a:endParaRPr lang="cs-CZ" b="1" dirty="0"/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289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0130427"/>
              </p:ext>
            </p:extLst>
          </p:nvPr>
        </p:nvGraphicFramePr>
        <p:xfrm>
          <a:off x="219809" y="967152"/>
          <a:ext cx="9522068" cy="5354851"/>
        </p:xfrm>
        <a:graphic>
          <a:graphicData uri="http://schemas.openxmlformats.org/drawingml/2006/table">
            <a:tbl>
              <a:tblPr/>
              <a:tblGrid>
                <a:gridCol w="2021292">
                  <a:extLst>
                    <a:ext uri="{9D8B030D-6E8A-4147-A177-3AD203B41FA5}">
                      <a16:colId xmlns:a16="http://schemas.microsoft.com/office/drawing/2014/main" val="803442725"/>
                    </a:ext>
                  </a:extLst>
                </a:gridCol>
                <a:gridCol w="1237524">
                  <a:extLst>
                    <a:ext uri="{9D8B030D-6E8A-4147-A177-3AD203B41FA5}">
                      <a16:colId xmlns:a16="http://schemas.microsoft.com/office/drawing/2014/main" val="789539508"/>
                    </a:ext>
                  </a:extLst>
                </a:gridCol>
                <a:gridCol w="1144711">
                  <a:extLst>
                    <a:ext uri="{9D8B030D-6E8A-4147-A177-3AD203B41FA5}">
                      <a16:colId xmlns:a16="http://schemas.microsoft.com/office/drawing/2014/main" val="1522131704"/>
                    </a:ext>
                  </a:extLst>
                </a:gridCol>
                <a:gridCol w="1141273">
                  <a:extLst>
                    <a:ext uri="{9D8B030D-6E8A-4147-A177-3AD203B41FA5}">
                      <a16:colId xmlns:a16="http://schemas.microsoft.com/office/drawing/2014/main" val="2331296576"/>
                    </a:ext>
                  </a:extLst>
                </a:gridCol>
                <a:gridCol w="1182524">
                  <a:extLst>
                    <a:ext uri="{9D8B030D-6E8A-4147-A177-3AD203B41FA5}">
                      <a16:colId xmlns:a16="http://schemas.microsoft.com/office/drawing/2014/main" val="1170406902"/>
                    </a:ext>
                  </a:extLst>
                </a:gridCol>
                <a:gridCol w="1185961">
                  <a:extLst>
                    <a:ext uri="{9D8B030D-6E8A-4147-A177-3AD203B41FA5}">
                      <a16:colId xmlns:a16="http://schemas.microsoft.com/office/drawing/2014/main" val="865533513"/>
                    </a:ext>
                  </a:extLst>
                </a:gridCol>
                <a:gridCol w="1608783">
                  <a:extLst>
                    <a:ext uri="{9D8B030D-6E8A-4147-A177-3AD203B41FA5}">
                      <a16:colId xmlns:a16="http://schemas.microsoft.com/office/drawing/2014/main" val="2147694098"/>
                    </a:ext>
                  </a:extLst>
                </a:gridCol>
              </a:tblGrid>
              <a:tr h="186909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1042239"/>
                  </a:ext>
                </a:extLst>
              </a:tr>
              <a:tr h="186909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19.01. 2022, 12:00 h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4963960"/>
                  </a:ext>
                </a:extLst>
              </a:tr>
              <a:tr h="186909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3769514"/>
                  </a:ext>
                </a:extLst>
              </a:tr>
              <a:tr h="18690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7827778"/>
                  </a:ext>
                </a:extLst>
              </a:tr>
              <a:tr h="65116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6574955"/>
                  </a:ext>
                </a:extLst>
              </a:tr>
              <a:tr h="1869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5644130"/>
                  </a:ext>
                </a:extLst>
              </a:tr>
              <a:tr h="1869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1384651"/>
                  </a:ext>
                </a:extLst>
              </a:tr>
              <a:tr h="1869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2603545"/>
                  </a:ext>
                </a:extLst>
              </a:tr>
              <a:tr h="1869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1967558"/>
                  </a:ext>
                </a:extLst>
              </a:tr>
              <a:tr h="1869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6621422"/>
                  </a:ext>
                </a:extLst>
              </a:tr>
              <a:tr h="1869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4628237"/>
                  </a:ext>
                </a:extLst>
              </a:tr>
              <a:tr h="1869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180917"/>
                  </a:ext>
                </a:extLst>
              </a:tr>
              <a:tr h="1869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9403095"/>
                  </a:ext>
                </a:extLst>
              </a:tr>
              <a:tr h="1869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5444367"/>
                  </a:ext>
                </a:extLst>
              </a:tr>
              <a:tr h="1869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6442847"/>
                  </a:ext>
                </a:extLst>
              </a:tr>
              <a:tr h="1869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4882881"/>
                  </a:ext>
                </a:extLst>
              </a:tr>
              <a:tr h="1869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2783509"/>
                  </a:ext>
                </a:extLst>
              </a:tr>
              <a:tr h="1869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7085130"/>
                  </a:ext>
                </a:extLst>
              </a:tr>
              <a:tr h="1869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4938411"/>
                  </a:ext>
                </a:extLst>
              </a:tr>
              <a:tr h="1869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09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7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4571723"/>
                  </a:ext>
                </a:extLst>
              </a:tr>
              <a:tr h="186909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8428289"/>
                  </a:ext>
                </a:extLst>
              </a:tr>
              <a:tr h="186909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971354"/>
                  </a:ext>
                </a:extLst>
              </a:tr>
              <a:tr h="18690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6546090"/>
                  </a:ext>
                </a:extLst>
              </a:tr>
              <a:tr h="186909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93491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697443"/>
              </p:ext>
            </p:extLst>
          </p:nvPr>
        </p:nvGraphicFramePr>
        <p:xfrm>
          <a:off x="193430" y="975942"/>
          <a:ext cx="9504485" cy="5374711"/>
        </p:xfrm>
        <a:graphic>
          <a:graphicData uri="http://schemas.openxmlformats.org/drawingml/2006/table">
            <a:tbl>
              <a:tblPr/>
              <a:tblGrid>
                <a:gridCol w="2017559">
                  <a:extLst>
                    <a:ext uri="{9D8B030D-6E8A-4147-A177-3AD203B41FA5}">
                      <a16:colId xmlns:a16="http://schemas.microsoft.com/office/drawing/2014/main" val="3465102875"/>
                    </a:ext>
                  </a:extLst>
                </a:gridCol>
                <a:gridCol w="1235241">
                  <a:extLst>
                    <a:ext uri="{9D8B030D-6E8A-4147-A177-3AD203B41FA5}">
                      <a16:colId xmlns:a16="http://schemas.microsoft.com/office/drawing/2014/main" val="3342686044"/>
                    </a:ext>
                  </a:extLst>
                </a:gridCol>
                <a:gridCol w="1142597">
                  <a:extLst>
                    <a:ext uri="{9D8B030D-6E8A-4147-A177-3AD203B41FA5}">
                      <a16:colId xmlns:a16="http://schemas.microsoft.com/office/drawing/2014/main" val="1623638451"/>
                    </a:ext>
                  </a:extLst>
                </a:gridCol>
                <a:gridCol w="1139166">
                  <a:extLst>
                    <a:ext uri="{9D8B030D-6E8A-4147-A177-3AD203B41FA5}">
                      <a16:colId xmlns:a16="http://schemas.microsoft.com/office/drawing/2014/main" val="2792734232"/>
                    </a:ext>
                  </a:extLst>
                </a:gridCol>
                <a:gridCol w="1180339">
                  <a:extLst>
                    <a:ext uri="{9D8B030D-6E8A-4147-A177-3AD203B41FA5}">
                      <a16:colId xmlns:a16="http://schemas.microsoft.com/office/drawing/2014/main" val="2129187611"/>
                    </a:ext>
                  </a:extLst>
                </a:gridCol>
                <a:gridCol w="1183771">
                  <a:extLst>
                    <a:ext uri="{9D8B030D-6E8A-4147-A177-3AD203B41FA5}">
                      <a16:colId xmlns:a16="http://schemas.microsoft.com/office/drawing/2014/main" val="805022183"/>
                    </a:ext>
                  </a:extLst>
                </a:gridCol>
                <a:gridCol w="1605812">
                  <a:extLst>
                    <a:ext uri="{9D8B030D-6E8A-4147-A177-3AD203B41FA5}">
                      <a16:colId xmlns:a16="http://schemas.microsoft.com/office/drawing/2014/main" val="1567241662"/>
                    </a:ext>
                  </a:extLst>
                </a:gridCol>
              </a:tblGrid>
              <a:tr h="182867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2359359"/>
                  </a:ext>
                </a:extLst>
              </a:tr>
              <a:tr h="185944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19.01. 2022, 12:00 h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5557047"/>
                  </a:ext>
                </a:extLst>
              </a:tr>
              <a:tr h="18286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8033743"/>
                  </a:ext>
                </a:extLst>
              </a:tr>
              <a:tr h="18286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630658"/>
                  </a:ext>
                </a:extLst>
              </a:tr>
              <a:tr h="67072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</a:t>
                      </a:r>
                      <a:r>
                        <a:rPr lang="cs-CZ" sz="13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vid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1548201"/>
                  </a:ext>
                </a:extLst>
              </a:tr>
              <a:tr h="1828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2715821"/>
                  </a:ext>
                </a:extLst>
              </a:tr>
              <a:tr h="1828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5396025"/>
                  </a:ext>
                </a:extLst>
              </a:tr>
              <a:tr h="1828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4334975"/>
                  </a:ext>
                </a:extLst>
              </a:tr>
              <a:tr h="1828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28880"/>
                  </a:ext>
                </a:extLst>
              </a:tr>
              <a:tr h="1828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485347"/>
                  </a:ext>
                </a:extLst>
              </a:tr>
              <a:tr h="1828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8454071"/>
                  </a:ext>
                </a:extLst>
              </a:tr>
              <a:tr h="1828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6044230"/>
                  </a:ext>
                </a:extLst>
              </a:tr>
              <a:tr h="1828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8214515"/>
                  </a:ext>
                </a:extLst>
              </a:tr>
              <a:tr h="1828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1090382"/>
                  </a:ext>
                </a:extLst>
              </a:tr>
              <a:tr h="1828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3375744"/>
                  </a:ext>
                </a:extLst>
              </a:tr>
              <a:tr h="1828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4368160"/>
                  </a:ext>
                </a:extLst>
              </a:tr>
              <a:tr h="1828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8843198"/>
                  </a:ext>
                </a:extLst>
              </a:tr>
              <a:tr h="1828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5953811"/>
                  </a:ext>
                </a:extLst>
              </a:tr>
              <a:tr h="1828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5489733"/>
                  </a:ext>
                </a:extLst>
              </a:tr>
              <a:tr h="1828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6711256"/>
                  </a:ext>
                </a:extLst>
              </a:tr>
              <a:tr h="182867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836326"/>
                  </a:ext>
                </a:extLst>
              </a:tr>
              <a:tr h="18286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7935274"/>
                  </a:ext>
                </a:extLst>
              </a:tr>
              <a:tr h="18286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0183509"/>
                  </a:ext>
                </a:extLst>
              </a:tr>
              <a:tr h="18286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62913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19.1.2022 00:36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/>
              <a:t>1 </a:t>
            </a:r>
            <a:r>
              <a:rPr lang="cs-CZ" sz="2000" b="1" dirty="0" smtClean="0"/>
              <a:t>346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9374537"/>
              </p:ext>
            </p:extLst>
          </p:nvPr>
        </p:nvGraphicFramePr>
        <p:xfrm>
          <a:off x="219809" y="962536"/>
          <a:ext cx="8561112" cy="5338368"/>
        </p:xfrm>
        <a:graphic>
          <a:graphicData uri="http://schemas.openxmlformats.org/drawingml/2006/table">
            <a:tbl>
              <a:tblPr/>
              <a:tblGrid>
                <a:gridCol w="1740040">
                  <a:extLst>
                    <a:ext uri="{9D8B030D-6E8A-4147-A177-3AD203B41FA5}">
                      <a16:colId xmlns:a16="http://schemas.microsoft.com/office/drawing/2014/main" val="1750661898"/>
                    </a:ext>
                  </a:extLst>
                </a:gridCol>
                <a:gridCol w="1065330">
                  <a:extLst>
                    <a:ext uri="{9D8B030D-6E8A-4147-A177-3AD203B41FA5}">
                      <a16:colId xmlns:a16="http://schemas.microsoft.com/office/drawing/2014/main" val="3108344677"/>
                    </a:ext>
                  </a:extLst>
                </a:gridCol>
                <a:gridCol w="985430">
                  <a:extLst>
                    <a:ext uri="{9D8B030D-6E8A-4147-A177-3AD203B41FA5}">
                      <a16:colId xmlns:a16="http://schemas.microsoft.com/office/drawing/2014/main" val="750302458"/>
                    </a:ext>
                  </a:extLst>
                </a:gridCol>
                <a:gridCol w="982471">
                  <a:extLst>
                    <a:ext uri="{9D8B030D-6E8A-4147-A177-3AD203B41FA5}">
                      <a16:colId xmlns:a16="http://schemas.microsoft.com/office/drawing/2014/main" val="1313004559"/>
                    </a:ext>
                  </a:extLst>
                </a:gridCol>
                <a:gridCol w="1017983">
                  <a:extLst>
                    <a:ext uri="{9D8B030D-6E8A-4147-A177-3AD203B41FA5}">
                      <a16:colId xmlns:a16="http://schemas.microsoft.com/office/drawing/2014/main" val="466596216"/>
                    </a:ext>
                  </a:extLst>
                </a:gridCol>
                <a:gridCol w="1384929">
                  <a:extLst>
                    <a:ext uri="{9D8B030D-6E8A-4147-A177-3AD203B41FA5}">
                      <a16:colId xmlns:a16="http://schemas.microsoft.com/office/drawing/2014/main" val="680500627"/>
                    </a:ext>
                  </a:extLst>
                </a:gridCol>
                <a:gridCol w="1384929">
                  <a:extLst>
                    <a:ext uri="{9D8B030D-6E8A-4147-A177-3AD203B41FA5}">
                      <a16:colId xmlns:a16="http://schemas.microsoft.com/office/drawing/2014/main" val="3275857841"/>
                    </a:ext>
                  </a:extLst>
                </a:gridCol>
              </a:tblGrid>
              <a:tr h="213786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0564095"/>
                  </a:ext>
                </a:extLst>
              </a:tr>
              <a:tr h="213786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9.01. 2022, 12:00 h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5375802"/>
                  </a:ext>
                </a:extLst>
              </a:tr>
              <a:tr h="18364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606783"/>
                  </a:ext>
                </a:extLst>
              </a:tr>
              <a:tr h="21378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6338680"/>
                  </a:ext>
                </a:extLst>
              </a:tr>
              <a:tr h="580275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765869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6869682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2291068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3518052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465671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7532322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3892432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0548952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8192546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5614534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513331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4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416671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5612979"/>
                  </a:ext>
                </a:extLst>
              </a:tr>
              <a:tr h="190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75006"/>
                  </a:ext>
                </a:extLst>
              </a:tr>
              <a:tr h="1985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4118106"/>
                  </a:ext>
                </a:extLst>
              </a:tr>
              <a:tr h="2061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8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2020436"/>
                  </a:ext>
                </a:extLst>
              </a:tr>
              <a:tr h="190880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2752802"/>
                  </a:ext>
                </a:extLst>
              </a:tr>
              <a:tr h="18364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813357"/>
                  </a:ext>
                </a:extLst>
              </a:tr>
              <a:tr h="18364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4240545"/>
                  </a:ext>
                </a:extLst>
              </a:tr>
              <a:tr h="190880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04990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9051232" y="4091981"/>
            <a:ext cx="2631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19.1.2022 11:0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889023" y="2439027"/>
            <a:ext cx="295585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/>
              <a:t>Žádáme všechna ZZ o aktualizaci</a:t>
            </a:r>
          </a:p>
          <a:p>
            <a:pPr algn="ctr"/>
            <a:r>
              <a:rPr lang="cs-CZ" dirty="0" smtClean="0"/>
              <a:t> volných lůžkových kapacit </a:t>
            </a:r>
          </a:p>
          <a:p>
            <a:pPr algn="ctr"/>
            <a:r>
              <a:rPr lang="cs-CZ" dirty="0" smtClean="0"/>
              <a:t>každý den i během víkendů.</a:t>
            </a:r>
            <a:endParaRPr lang="cs-CZ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9479968"/>
              </p:ext>
            </p:extLst>
          </p:nvPr>
        </p:nvGraphicFramePr>
        <p:xfrm>
          <a:off x="1485900" y="2439027"/>
          <a:ext cx="5970953" cy="2331720"/>
        </p:xfrm>
        <a:graphic>
          <a:graphicData uri="http://schemas.openxmlformats.org/drawingml/2006/table">
            <a:tbl>
              <a:tblPr/>
              <a:tblGrid>
                <a:gridCol w="3238243">
                  <a:extLst>
                    <a:ext uri="{9D8B030D-6E8A-4147-A177-3AD203B41FA5}">
                      <a16:colId xmlns:a16="http://schemas.microsoft.com/office/drawing/2014/main" val="3709089991"/>
                    </a:ext>
                  </a:extLst>
                </a:gridCol>
                <a:gridCol w="791885">
                  <a:extLst>
                    <a:ext uri="{9D8B030D-6E8A-4147-A177-3AD203B41FA5}">
                      <a16:colId xmlns:a16="http://schemas.microsoft.com/office/drawing/2014/main" val="2916318408"/>
                    </a:ext>
                  </a:extLst>
                </a:gridCol>
                <a:gridCol w="1940825">
                  <a:extLst>
                    <a:ext uri="{9D8B030D-6E8A-4147-A177-3AD203B41FA5}">
                      <a16:colId xmlns:a16="http://schemas.microsoft.com/office/drawing/2014/main" val="163112969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slední aktualiza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84627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tská nemocnice Čáslav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8.11.2021 5: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84247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SSENIA a.s., Rehabilitační nemocnice Berou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12.2021 8: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432072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N a.s., Nemocnice Šternberk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76200" marB="762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5.01.2022 13: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3688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UC Klinika Zlín a.s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76200" marB="762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01.2022 7: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88201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trakonice, a.s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01.2022 7: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848903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Mladá Boleslav, a.s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01.2022 11: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45596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5340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0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7090965"/>
              </p:ext>
            </p:extLst>
          </p:nvPr>
        </p:nvGraphicFramePr>
        <p:xfrm>
          <a:off x="1522023" y="1993495"/>
          <a:ext cx="8652072" cy="31185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389221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4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4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19.1.2022 0:36 h</a:t>
                      </a:r>
                      <a:endParaRPr lang="cs-CZ" sz="14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4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1 635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365132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951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8,1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89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39 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2,4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12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(73,4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457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28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346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88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11,5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764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6,8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4160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71273" y="30260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2435160"/>
              </p:ext>
            </p:extLst>
          </p:nvPr>
        </p:nvGraphicFramePr>
        <p:xfrm>
          <a:off x="803513" y="1322691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19.1.202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9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7,2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698690" y="3059750"/>
            <a:ext cx="1039788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ne 18.1. bylo 117 nově přijatých C+ pacientů a 183 propuštěných.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KIP – bez požadavků na mezikrajové překlady. 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KIP  - celkové zlepšení situace v ČR, nižší počty příjmů C+ pac, ve všech krajích obnovena elektivní operativa s omezením do 20 % nebo méně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tále zatížení IP long-COVID pacienty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lvl="1">
              <a:defRPr/>
            </a:pPr>
            <a:endParaRPr lang="cs-CZ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 startAt="4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P – long-</a:t>
            </a:r>
            <a:r>
              <a:rPr lang="cs-CZ" dirty="0" err="1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vid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acienti k </a:t>
            </a:r>
            <a:r>
              <a:rPr lang="cs-CZ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9.1.2022 11:30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&gt;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7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elkem, z toho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4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 na JIP, z toho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2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 na UPV/ECMO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897634" y="1454642"/>
            <a:ext cx="52548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Volná kapacita JIP již čtvrtý týden stoupá a pokles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ílu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+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ientů začíná stagnovat.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7711300"/>
              </p:ext>
            </p:extLst>
          </p:nvPr>
        </p:nvGraphicFramePr>
        <p:xfrm>
          <a:off x="332646" y="832093"/>
          <a:ext cx="11405086" cy="5065288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1854723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549769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145323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6625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9773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bilní situace. Pokles akutně přijímaný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, kapacity obsazeny již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kovidovaným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emocnými stále vyžadujícími IP, kteří udržují vysokou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IP/ARO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5724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částečně uvolněn, onkologická aj. neodkladná operativa zcela bez omezení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ůžka pro COVID+ s dostatečnou kapacitou, spíše nižší počet příjmů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a úkor elektivní péče dále udržována navýšená kapacita standardní i IP péče pro C+ pacienty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9758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avyšování elektivní činnosti, část pracovišť zakonzervován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upný návrat k elektivní operativě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75649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4006327"/>
              </p:ext>
            </p:extLst>
          </p:nvPr>
        </p:nvGraphicFramePr>
        <p:xfrm>
          <a:off x="288084" y="735512"/>
          <a:ext cx="11587543" cy="5735517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66779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26955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Částečné 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acienty v intenzivní a standardní péči, vzhledem k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ové kapacity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endový pokles počtu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 v intenzivní 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</a:t>
                      </a:r>
                      <a:endParaRPr lang="cs-CZ" sz="1300" b="0" i="0" kern="1200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2309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navyšování elektivní operativy, část pracovišť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b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řipravenost k event. změně zpět do „COVID“ režimu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šší nemocnost personálu, ale zatím toto není limitací k poskytování péče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235451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i intenzivní péči umožňuje návrat některých COV oddělení do běžného režimu, operativa stále omezena cca 60-70%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aj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i na IP a je vysoký tlak na následnou péči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še ale ponecháno v rámc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y opatření s ohledem na vizi omikron mutace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ersonál je i tak již za hranou svých možností a kapacit a převádí již druhým rokem strašlivá kvanta dovolené a osobního volna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5392</TotalTime>
  <Words>1910</Words>
  <Application>Microsoft Office PowerPoint</Application>
  <PresentationFormat>Širokoúhlá obrazovka</PresentationFormat>
  <Paragraphs>557</Paragraphs>
  <Slides>11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1</vt:i4>
      </vt:variant>
    </vt:vector>
  </HeadingPairs>
  <TitlesOfParts>
    <vt:vector size="18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NDLP – Stav očkování u hospitalizovaných pacientů</vt:lpstr>
      <vt:lpstr>NDLP - Souhrn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Daniel Karafiát</cp:lastModifiedBy>
  <cp:revision>1908</cp:revision>
  <cp:lastPrinted>2020-10-20T04:21:56Z</cp:lastPrinted>
  <dcterms:created xsi:type="dcterms:W3CDTF">2020-07-15T10:33:32Z</dcterms:created>
  <dcterms:modified xsi:type="dcterms:W3CDTF">2022-01-19T10:40:49Z</dcterms:modified>
</cp:coreProperties>
</file>